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706" r:id="rId1"/>
  </p:sldMasterIdLst>
  <p:notesMasterIdLst>
    <p:notesMasterId r:id="rId3"/>
  </p:notesMasterIdLst>
  <p:sldIdLst>
    <p:sldId id="279" r:id="rId2"/>
  </p:sldIdLst>
  <p:sldSz cx="12801600" cy="9601200" type="A3"/>
  <p:notesSz cx="6797675" cy="9926638"/>
  <p:defaultTextStyle>
    <a:defPPr lvl="0">
      <a:defRPr lang="en-US"/>
    </a:defPPr>
    <a:lvl1pPr marL="0" lv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1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2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3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lvl="4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lvl="5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lvl="6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lvl="7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lvl="8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24">
          <p15:clr>
            <a:srgbClr val="A4A3A4"/>
          </p15:clr>
        </p15:guide>
        <p15:guide id="2" pos="403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F9CF"/>
    <a:srgbClr val="9FE09C"/>
    <a:srgbClr val="B5DE99"/>
    <a:srgbClr val="D9D9D9"/>
    <a:srgbClr val="990101"/>
    <a:srgbClr val="FDBBBD"/>
    <a:srgbClr val="FFC1C1"/>
    <a:srgbClr val="E692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0651C3A-4460-11DB-9652-00E08161165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2796" autoAdjust="0"/>
  </p:normalViewPr>
  <p:slideViewPr>
    <p:cSldViewPr snapToGrid="0">
      <p:cViewPr varScale="1">
        <p:scale>
          <a:sx n="83" d="100"/>
          <a:sy n="83" d="100"/>
        </p:scale>
        <p:origin x="1398" y="90"/>
      </p:cViewPr>
      <p:guideLst>
        <p:guide orient="horz" pos="3024"/>
        <p:guide pos="4032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3CA9ED-4081-4021-AE6F-635021FAF79A}" type="datetimeFigureOut">
              <a:rPr lang="ru-RU" smtClean="0"/>
              <a:t>01.03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1A4584-1CF3-4651-AAD6-3B85BD2424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48604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1A4584-1CF3-4651-AAD6-3B85BD2424F9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67646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3E5183F6-3C7E-44B3-B6D9-562EABFC4B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7615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="" xmlns:a16="http://schemas.microsoft.com/office/drawing/2014/main" id="{3E5183F6-3C7E-44B3-B6D9-562EABFC4B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0605" y="137016"/>
            <a:ext cx="10181297" cy="1106685"/>
          </a:xfrm>
        </p:spPr>
        <p:txBody>
          <a:bodyPr>
            <a:normAutofit/>
          </a:bodyPr>
          <a:lstStyle>
            <a:lvl1pPr>
              <a:defRPr sz="2584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322036" y="1913405"/>
            <a:ext cx="5157453" cy="3841338"/>
          </a:xfrm>
        </p:spPr>
        <p:txBody>
          <a:bodyPr>
            <a:normAutofit/>
          </a:bodyPr>
          <a:lstStyle>
            <a:lvl1pPr marL="231830" indent="-231830">
              <a:buClr>
                <a:srgbClr val="830051"/>
              </a:buCl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80110" y="8982647"/>
            <a:ext cx="2880360" cy="51117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40533" y="8982647"/>
            <a:ext cx="4320540" cy="51117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818858" y="9040391"/>
            <a:ext cx="660631" cy="395676"/>
          </a:xfrm>
        </p:spPr>
        <p:txBody>
          <a:bodyPr/>
          <a:lstStyle/>
          <a:p>
            <a:fld id="{6748A8BB-B201-495E-AE28-3EB55DFDA6C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322037" y="1391044"/>
            <a:ext cx="5157454" cy="483204"/>
          </a:xfrm>
        </p:spPr>
        <p:txBody>
          <a:bodyPr tIns="90000" anchor="ctr">
            <a:noAutofit/>
          </a:bodyPr>
          <a:lstStyle>
            <a:lvl1pPr marL="0" indent="0" algn="l">
              <a:buNone/>
              <a:defRPr sz="1809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590857" indent="0" algn="ctr">
              <a:buNone/>
              <a:defRPr sz="2584"/>
            </a:lvl2pPr>
            <a:lvl3pPr marL="1181716" indent="0" algn="ctr">
              <a:buNone/>
              <a:defRPr sz="2327"/>
            </a:lvl3pPr>
            <a:lvl4pPr marL="1772574" indent="0" algn="ctr">
              <a:buNone/>
              <a:defRPr sz="2068"/>
            </a:lvl4pPr>
            <a:lvl5pPr marL="2363431" indent="0" algn="ctr">
              <a:buNone/>
              <a:defRPr sz="2068"/>
            </a:lvl5pPr>
            <a:lvl6pPr marL="2954290" indent="0" algn="ctr">
              <a:buNone/>
              <a:defRPr sz="2068"/>
            </a:lvl6pPr>
            <a:lvl7pPr marL="3545147" indent="0" algn="ctr">
              <a:buNone/>
              <a:defRPr sz="2068"/>
            </a:lvl7pPr>
            <a:lvl8pPr marL="4136005" indent="0" algn="ctr">
              <a:buNone/>
              <a:defRPr sz="2068"/>
            </a:lvl8pPr>
            <a:lvl9pPr marL="4726863" indent="0" algn="ctr">
              <a:buNone/>
              <a:defRPr sz="2068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41149" y="1391046"/>
            <a:ext cx="6480810" cy="7166694"/>
          </a:xfrm>
        </p:spPr>
        <p:txBody>
          <a:bodyPr>
            <a:normAutofit/>
          </a:bodyPr>
          <a:lstStyle>
            <a:lvl1pPr marL="0" indent="0">
              <a:buNone/>
              <a:defRPr sz="1551"/>
            </a:lvl1pPr>
            <a:lvl2pPr>
              <a:defRPr sz="3619"/>
            </a:lvl2pPr>
            <a:lvl3pPr>
              <a:defRPr sz="3101"/>
            </a:lvl3pPr>
            <a:lvl4pPr>
              <a:defRPr sz="2584"/>
            </a:lvl4pPr>
            <a:lvl5pPr>
              <a:defRPr sz="2584"/>
            </a:lvl5pPr>
            <a:lvl6pPr>
              <a:defRPr sz="2584"/>
            </a:lvl6pPr>
            <a:lvl7pPr>
              <a:defRPr sz="2584"/>
            </a:lvl7pPr>
            <a:lvl8pPr>
              <a:defRPr sz="2584"/>
            </a:lvl8pPr>
            <a:lvl9pPr>
              <a:defRPr sz="258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7331357" y="5970098"/>
            <a:ext cx="2497624" cy="2587640"/>
          </a:xfrm>
        </p:spPr>
        <p:txBody>
          <a:bodyPr>
            <a:normAutofit/>
          </a:bodyPr>
          <a:lstStyle>
            <a:lvl1pPr marL="0" indent="0">
              <a:buNone/>
              <a:defRPr sz="1292"/>
            </a:lvl1pPr>
            <a:lvl2pPr>
              <a:defRPr sz="3619"/>
            </a:lvl2pPr>
            <a:lvl3pPr>
              <a:defRPr sz="3101"/>
            </a:lvl3pPr>
            <a:lvl4pPr>
              <a:defRPr sz="2584"/>
            </a:lvl4pPr>
            <a:lvl5pPr>
              <a:defRPr sz="2584"/>
            </a:lvl5pPr>
            <a:lvl6pPr>
              <a:defRPr sz="2584"/>
            </a:lvl6pPr>
            <a:lvl7pPr>
              <a:defRPr sz="2584"/>
            </a:lvl7pPr>
            <a:lvl8pPr>
              <a:defRPr sz="2584"/>
            </a:lvl8pPr>
            <a:lvl9pPr>
              <a:defRPr sz="258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981869" y="5970098"/>
            <a:ext cx="2497624" cy="2587640"/>
          </a:xfrm>
        </p:spPr>
        <p:txBody>
          <a:bodyPr>
            <a:normAutofit/>
          </a:bodyPr>
          <a:lstStyle>
            <a:lvl1pPr marL="0" indent="0">
              <a:buNone/>
              <a:defRPr sz="1292"/>
            </a:lvl1pPr>
            <a:lvl2pPr>
              <a:defRPr sz="3619"/>
            </a:lvl2pPr>
            <a:lvl3pPr>
              <a:defRPr sz="3101"/>
            </a:lvl3pPr>
            <a:lvl4pPr>
              <a:defRPr sz="2584"/>
            </a:lvl4pPr>
            <a:lvl5pPr>
              <a:defRPr sz="2584"/>
            </a:lvl5pPr>
            <a:lvl6pPr>
              <a:defRPr sz="2584"/>
            </a:lvl6pPr>
            <a:lvl7pPr>
              <a:defRPr sz="2584"/>
            </a:lvl7pPr>
            <a:lvl8pPr>
              <a:defRPr sz="2584"/>
            </a:lvl8pPr>
            <a:lvl9pPr>
              <a:defRPr sz="258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6" name="Прямая соединительная линия 15"/>
          <p:cNvCxnSpPr/>
          <p:nvPr userDrawn="1"/>
        </p:nvCxnSpPr>
        <p:spPr>
          <a:xfrm flipH="1">
            <a:off x="552189" y="1292124"/>
            <a:ext cx="119273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33F1CC9C-143B-4356-8795-BC71F3F6080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65727" y="161409"/>
            <a:ext cx="882000" cy="1048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79892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80110" y="511177"/>
            <a:ext cx="11041380" cy="18557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0110" y="2555875"/>
            <a:ext cx="11041380" cy="60918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0110" y="8898892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pPr/>
              <a:t>3/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40530" y="8898892"/>
            <a:ext cx="43205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1130" y="8898892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3590EA2D-5BB2-461D-A7BC-35F89E83A5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47014307"/>
              </p:ext>
            </p:extLst>
          </p:nvPr>
        </p:nvGraphicFramePr>
        <p:xfrm>
          <a:off x="2223" y="222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="" xmlns:a16="http://schemas.microsoft.com/office/drawing/2014/main" id="{3590EA2D-5BB2-461D-A7BC-35F89E83A5D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3" y="2223"/>
                        <a:ext cx="2223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BAD41EC6-78D9-4512-B2AB-FBB941FA054C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1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0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</p:sldLayoutIdLst>
  <p:hf hdr="0" ftr="0" dt="0"/>
  <p:txStyles>
    <p:titleStyle>
      <a:lvl1pPr algn="l" defTabSz="1280160" rtl="0" eaLnBrk="1" latinLnBrk="0" hangingPunct="1">
        <a:lnSpc>
          <a:spcPct val="90000"/>
        </a:lnSpc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0040" indent="-320040" algn="l" defTabSz="1280160" rtl="0" eaLnBrk="1" latinLnBrk="0" hangingPunct="1">
        <a:lnSpc>
          <a:spcPct val="90000"/>
        </a:lnSpc>
        <a:spcBef>
          <a:spcPts val="1400"/>
        </a:spcBef>
        <a:buFont typeface="Arial" panose="020B0604020202020204" pitchFamily="34" charset="0"/>
        <a:buChar char="•"/>
        <a:defRPr sz="3920" kern="1200">
          <a:solidFill>
            <a:schemeClr val="tx1"/>
          </a:solidFill>
          <a:latin typeface="+mn-lt"/>
          <a:ea typeface="+mn-ea"/>
          <a:cs typeface="+mn-cs"/>
        </a:defRPr>
      </a:lvl1pPr>
      <a:lvl2pPr marL="9601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50000">
              <a:schemeClr val="bg2">
                <a:tint val="90000"/>
                <a:satMod val="92000"/>
                <a:lumMod val="120000"/>
              </a:schemeClr>
            </a:gs>
            <a:gs pos="100000">
              <a:schemeClr val="bg2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Скругленный прямоугольник 28"/>
          <p:cNvSpPr/>
          <p:nvPr/>
        </p:nvSpPr>
        <p:spPr>
          <a:xfrm>
            <a:off x="176358" y="2231371"/>
            <a:ext cx="6060821" cy="3650445"/>
          </a:xfrm>
          <a:prstGeom prst="roundRect">
            <a:avLst/>
          </a:prstGeom>
          <a:gradFill flip="none" rotWithShape="1">
            <a:gsLst>
              <a:gs pos="0">
                <a:srgbClr val="9FE09C">
                  <a:tint val="66000"/>
                  <a:satMod val="160000"/>
                </a:srgbClr>
              </a:gs>
              <a:gs pos="50000">
                <a:srgbClr val="9FE09C">
                  <a:tint val="44500"/>
                  <a:satMod val="160000"/>
                </a:srgbClr>
              </a:gs>
              <a:gs pos="100000">
                <a:srgbClr val="9FE09C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6655265" y="6339079"/>
            <a:ext cx="6000188" cy="2594535"/>
          </a:xfrm>
          <a:prstGeom prst="roundRect">
            <a:avLst/>
          </a:prstGeom>
          <a:solidFill>
            <a:srgbClr val="D1F9CF"/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210180" y="6339079"/>
            <a:ext cx="6027000" cy="2594535"/>
          </a:xfrm>
          <a:prstGeom prst="roundRect">
            <a:avLst/>
          </a:prstGeom>
          <a:solidFill>
            <a:srgbClr val="D1F9CF">
              <a:alpha val="78000"/>
            </a:srgb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6594613" y="2477896"/>
            <a:ext cx="6060840" cy="2861685"/>
          </a:xfrm>
          <a:prstGeom prst="roundRect">
            <a:avLst/>
          </a:prstGeom>
          <a:gradFill flip="none" rotWithShape="1">
            <a:gsLst>
              <a:gs pos="0">
                <a:srgbClr val="9FE09C">
                  <a:tint val="66000"/>
                  <a:satMod val="160000"/>
                </a:srgbClr>
              </a:gs>
              <a:gs pos="50000">
                <a:srgbClr val="9FE09C">
                  <a:tint val="44500"/>
                  <a:satMod val="160000"/>
                </a:srgbClr>
              </a:gs>
              <a:gs pos="100000">
                <a:srgbClr val="9FE09C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1269356" y="266649"/>
            <a:ext cx="10181297" cy="756127"/>
          </a:xfrm>
        </p:spPr>
        <p:txBody>
          <a:bodyPr>
            <a:noAutofit/>
          </a:bodyPr>
          <a:lstStyle/>
          <a:p>
            <a:pPr algn="ctr"/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ая инспекция Забайкальского края </a:t>
            </a:r>
            <a:r>
              <a:rPr lang="ru-RU" sz="2800" dirty="0"/>
              <a:t/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10" name="Подзаголовок 9"/>
          <p:cNvSpPr txBox="1">
            <a:spLocks noGrp="1"/>
          </p:cNvSpPr>
          <p:nvPr>
            <p:ph type="subTitle" idx="13"/>
          </p:nvPr>
        </p:nvSpPr>
        <p:spPr>
          <a:xfrm>
            <a:off x="628265" y="1202994"/>
            <a:ext cx="5157454" cy="1368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21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1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йнадзор</a:t>
            </a:r>
            <a:endParaRPr lang="ru-RU" sz="2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Объект 13"/>
          <p:cNvSpPr>
            <a:spLocks noGrp="1"/>
          </p:cNvSpPr>
          <p:nvPr>
            <p:ph idx="14"/>
          </p:nvPr>
        </p:nvSpPr>
        <p:spPr>
          <a:xfrm>
            <a:off x="8232360" y="3663811"/>
            <a:ext cx="1251875" cy="85432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/>
            <a:endParaRPr lang="ru-RU" sz="4300" b="1" dirty="0">
              <a:solidFill>
                <a:srgbClr val="FF0000"/>
              </a:solidFill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8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  <a:endParaRPr lang="ru-RU" sz="8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5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НМ</a:t>
            </a: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5" name="Подзаголовок 9"/>
          <p:cNvSpPr txBox="1">
            <a:spLocks/>
          </p:cNvSpPr>
          <p:nvPr/>
        </p:nvSpPr>
        <p:spPr>
          <a:xfrm>
            <a:off x="7275480" y="6592866"/>
            <a:ext cx="5157454" cy="427894"/>
          </a:xfrm>
          <a:prstGeom prst="rect">
            <a:avLst/>
          </a:prstGeom>
          <a:noFill/>
        </p:spPr>
        <p:txBody>
          <a:bodyPr vert="horz" wrap="square" lIns="91440" tIns="90000" rIns="91440" bIns="45720" rtlCol="0" anchor="ctr">
            <a:sp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809" b="1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85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1716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3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2574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63431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54290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4514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36005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26863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стехнадзор</a:t>
            </a:r>
            <a:endParaRPr lang="ru-RU" sz="2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одзаголовок 9"/>
          <p:cNvSpPr txBox="1">
            <a:spLocks/>
          </p:cNvSpPr>
          <p:nvPr/>
        </p:nvSpPr>
        <p:spPr>
          <a:xfrm>
            <a:off x="7097699" y="2809825"/>
            <a:ext cx="5051474" cy="898279"/>
          </a:xfrm>
          <a:prstGeom prst="rect">
            <a:avLst/>
          </a:prstGeom>
          <a:noFill/>
        </p:spPr>
        <p:txBody>
          <a:bodyPr vert="horz" wrap="square" lIns="91440" tIns="90000" rIns="91440" bIns="45720" rtlCol="0" anchor="ctr">
            <a:sp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809" b="1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85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1716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3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2574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63431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54290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4514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36005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26863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илнадзор</a:t>
            </a:r>
            <a:endParaRPr lang="ru-RU" sz="2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одзаголовок 9"/>
          <p:cNvSpPr txBox="1">
            <a:spLocks/>
          </p:cNvSpPr>
          <p:nvPr/>
        </p:nvSpPr>
        <p:spPr>
          <a:xfrm>
            <a:off x="887481" y="6603874"/>
            <a:ext cx="5157454" cy="898279"/>
          </a:xfrm>
          <a:prstGeom prst="rect">
            <a:avLst/>
          </a:prstGeom>
          <a:noFill/>
        </p:spPr>
        <p:txBody>
          <a:bodyPr vert="horz" wrap="square" lIns="91440" tIns="90000" rIns="91440" bIns="45720" rtlCol="0" anchor="ctr">
            <a:sp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809" b="1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85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1716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3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2574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63431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54290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4514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36005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26863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оль долевого строительства</a:t>
            </a:r>
          </a:p>
          <a:p>
            <a:pPr algn="ctr"/>
            <a:endParaRPr lang="ru-RU" sz="2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Объект 13"/>
          <p:cNvSpPr txBox="1">
            <a:spLocks/>
          </p:cNvSpPr>
          <p:nvPr/>
        </p:nvSpPr>
        <p:spPr>
          <a:xfrm>
            <a:off x="985252" y="2805807"/>
            <a:ext cx="4641955" cy="790574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92500" lnSpcReduction="2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ктов в надзоре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го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2</a:t>
            </a:r>
            <a:endParaRPr lang="ru-RU" sz="2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Bef>
                <a:spcPts val="0"/>
              </a:spcBef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т ч с бюджетным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ссигнованием -  </a:t>
            </a:r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5</a:t>
            </a:r>
          </a:p>
          <a:p>
            <a:pPr algn="ctr">
              <a:spcBef>
                <a:spcPts val="0"/>
              </a:spcBef>
            </a:pP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мерческих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- </a:t>
            </a:r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7</a:t>
            </a:r>
            <a:endParaRPr lang="ru-RU" sz="2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Объект 13"/>
          <p:cNvSpPr txBox="1">
            <a:spLocks/>
          </p:cNvSpPr>
          <p:nvPr/>
        </p:nvSpPr>
        <p:spPr>
          <a:xfrm>
            <a:off x="11158079" y="3675303"/>
            <a:ext cx="1411810" cy="842828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2000" b="1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endParaRPr lang="ru-RU" sz="2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писаний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Объект 13"/>
          <p:cNvSpPr txBox="1">
            <a:spLocks/>
          </p:cNvSpPr>
          <p:nvPr/>
        </p:nvSpPr>
        <p:spPr>
          <a:xfrm>
            <a:off x="9572192" y="3688260"/>
            <a:ext cx="1467455" cy="848578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25000" lnSpcReduction="2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700" dirty="0"/>
          </a:p>
          <a:p>
            <a:pPr algn="ctr"/>
            <a:endParaRPr lang="ru-RU" sz="1700" dirty="0"/>
          </a:p>
          <a:p>
            <a:pPr algn="ctr"/>
            <a:endParaRPr lang="ru-RU" sz="4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8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3</a:t>
            </a: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4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ережений</a:t>
            </a:r>
            <a:endParaRPr lang="ru-RU" sz="4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endParaRPr lang="ru-RU" sz="3600" dirty="0"/>
          </a:p>
          <a:p>
            <a:pPr algn="ctr"/>
            <a:endParaRPr lang="ru-RU" sz="3600" dirty="0">
              <a:solidFill>
                <a:schemeClr val="tx1"/>
              </a:solidFill>
            </a:endParaRP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2" name="Объект 13"/>
          <p:cNvSpPr txBox="1">
            <a:spLocks/>
          </p:cNvSpPr>
          <p:nvPr/>
        </p:nvSpPr>
        <p:spPr>
          <a:xfrm>
            <a:off x="6955216" y="7201767"/>
            <a:ext cx="1675930" cy="103023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77500" lnSpcReduction="2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4</a:t>
            </a:r>
            <a:endParaRPr lang="ru-RU" sz="24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0000"/>
              </a:lnSpc>
              <a:spcBef>
                <a:spcPts val="0"/>
              </a:spcBef>
            </a:pPr>
            <a:endParaRPr lang="ru-RU" sz="13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ru-RU" sz="13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дано </a:t>
            </a:r>
            <a:r>
              <a:rPr lang="ru-RU" sz="13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достоверений </a:t>
            </a:r>
            <a:r>
              <a:rPr lang="ru-RU" sz="13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акториста-машиниста</a:t>
            </a:r>
          </a:p>
        </p:txBody>
      </p:sp>
      <p:sp>
        <p:nvSpPr>
          <p:cNvPr id="33" name="Объект 13"/>
          <p:cNvSpPr txBox="1">
            <a:spLocks/>
          </p:cNvSpPr>
          <p:nvPr/>
        </p:nvSpPr>
        <p:spPr>
          <a:xfrm>
            <a:off x="8762345" y="7189185"/>
            <a:ext cx="1722181" cy="1055394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85000" lnSpcReduction="2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2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4</a:t>
            </a: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о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хнических осмотров</a:t>
            </a:r>
          </a:p>
        </p:txBody>
      </p:sp>
      <p:sp>
        <p:nvSpPr>
          <p:cNvPr id="34" name="Объект 13"/>
          <p:cNvSpPr txBox="1">
            <a:spLocks/>
          </p:cNvSpPr>
          <p:nvPr/>
        </p:nvSpPr>
        <p:spPr>
          <a:xfrm>
            <a:off x="10710753" y="7204328"/>
            <a:ext cx="1722181" cy="1025107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8</a:t>
            </a:r>
            <a:endParaRPr lang="ru-RU" sz="2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endParaRPr lang="ru-RU" sz="1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регистрировано самоходных машин</a:t>
            </a:r>
          </a:p>
        </p:txBody>
      </p:sp>
      <p:sp>
        <p:nvSpPr>
          <p:cNvPr id="35" name="Подзаголовок 9"/>
          <p:cNvSpPr txBox="1">
            <a:spLocks/>
          </p:cNvSpPr>
          <p:nvPr/>
        </p:nvSpPr>
        <p:spPr>
          <a:xfrm>
            <a:off x="985252" y="8461492"/>
            <a:ext cx="5157454" cy="358645"/>
          </a:xfrm>
          <a:prstGeom prst="rect">
            <a:avLst/>
          </a:prstGeom>
          <a:noFill/>
        </p:spPr>
        <p:txBody>
          <a:bodyPr vert="horz" wrap="square" lIns="91440" tIns="90000" rIns="91440" bIns="45720" rtlCol="0" anchor="ctr">
            <a:sp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809" b="1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85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1716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3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2574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63431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54290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4514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36005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26863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ка информации о застройщиках в ЕИСЖС</a:t>
            </a:r>
          </a:p>
        </p:txBody>
      </p:sp>
      <p:sp>
        <p:nvSpPr>
          <p:cNvPr id="36" name="Объект 13"/>
          <p:cNvSpPr txBox="1">
            <a:spLocks/>
          </p:cNvSpPr>
          <p:nvPr/>
        </p:nvSpPr>
        <p:spPr>
          <a:xfrm>
            <a:off x="2408792" y="7282302"/>
            <a:ext cx="1595951" cy="869158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25000" lnSpcReduction="2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4300" b="1" dirty="0">
              <a:solidFill>
                <a:srgbClr val="FF0000"/>
              </a:solidFill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endParaRPr lang="ru-RU" sz="8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8000" b="1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80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endParaRPr lang="ru-RU" sz="5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5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НМ</a:t>
            </a: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4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5" name="Объект 13"/>
          <p:cNvSpPr txBox="1">
            <a:spLocks/>
          </p:cNvSpPr>
          <p:nvPr/>
        </p:nvSpPr>
        <p:spPr>
          <a:xfrm>
            <a:off x="6717861" y="3663811"/>
            <a:ext cx="1426542" cy="85432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85000" lnSpcReduction="2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ru-RU" sz="24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разрешенных обращений граждан</a:t>
            </a:r>
          </a:p>
        </p:txBody>
      </p:sp>
      <p:sp>
        <p:nvSpPr>
          <p:cNvPr id="39" name="Объект 13"/>
          <p:cNvSpPr txBox="1">
            <a:spLocks/>
          </p:cNvSpPr>
          <p:nvPr/>
        </p:nvSpPr>
        <p:spPr>
          <a:xfrm>
            <a:off x="985252" y="4112549"/>
            <a:ext cx="4641955" cy="1278382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тоговые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ки</a:t>
            </a:r>
          </a:p>
          <a:p>
            <a:pPr algn="ctr">
              <a:spcBef>
                <a:spcPts val="0"/>
              </a:spcBef>
            </a:pP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70-кв.жилой дом </a:t>
            </a:r>
            <a:r>
              <a:rPr lang="ru-RU" sz="12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кр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Молодежный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. Чита ( 2 этап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ru-RU" sz="120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выдано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ОС</a:t>
            </a:r>
            <a:endParaRPr lang="ru-RU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Bef>
                <a:spcPts val="0"/>
              </a:spcBef>
            </a:pPr>
            <a:endParaRPr lang="ru-RU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</a:pPr>
            <a:endParaRPr lang="ru-RU" sz="12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5159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24</TotalTime>
  <Words>75</Words>
  <Application>Microsoft Office PowerPoint</Application>
  <PresentationFormat>A3 (297x420 мм)</PresentationFormat>
  <Paragraphs>42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Times New Roman</vt:lpstr>
      <vt:lpstr>Office Theme</vt:lpstr>
      <vt:lpstr>think-cell Slide</vt:lpstr>
      <vt:lpstr> Государственная инспекция Забайкальского края 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АЛИЗАЦИЯ ПРОГРАММЫ «ДАЛЬНЕВОСТОЧНАЯ ИПОТЕКА» НА ТЕРРИТОРИИ ЗАБАЙКАЛЬСКОГО КРАЯ</dc:title>
  <dc:creator>аупеупеу</dc:creator>
  <cp:lastModifiedBy>Кузьмина Дарья Викторовна</cp:lastModifiedBy>
  <cp:revision>228</cp:revision>
  <cp:lastPrinted>2023-07-07T05:26:12Z</cp:lastPrinted>
  <dcterms:modified xsi:type="dcterms:W3CDTF">2024-03-01T06:53:37Z</dcterms:modified>
</cp:coreProperties>
</file>